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66" r:id="rId5"/>
    <p:sldId id="268" r:id="rId6"/>
    <p:sldId id="270" r:id="rId7"/>
    <p:sldId id="273" r:id="rId8"/>
    <p:sldId id="274" r:id="rId9"/>
    <p:sldId id="271" r:id="rId10"/>
  </p:sldIdLst>
  <p:sldSz cx="10693400" cy="7561263"/>
  <p:notesSz cx="6797675" cy="9928225"/>
  <p:custDataLst>
    <p:tags r:id="rId13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4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1092" y="60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duben_2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Exportni_index_2021-Q1_da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rb.cz\group\Research\David\Copy%20of%20Exportni_index_2021-Q1_data_cop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 i="0" u="none" strike="noStrike" baseline="0">
                <a:effectLst/>
              </a:rPr>
              <a:t>Index Exportu </a:t>
            </a:r>
            <a:r>
              <a:rPr lang="cs-CZ" sz="1400" b="1" i="0" u="none" strike="noStrike" kern="1200" baseline="0">
                <a:solidFill>
                  <a:sysClr val="windowText" lastClr="000000"/>
                </a:solidFill>
                <a:effectLst/>
                <a:latin typeface="+mn-lt"/>
                <a:ea typeface="+mn-ea"/>
                <a:cs typeface="+mn-cs"/>
              </a:rPr>
              <a:t>– vysoká očekávání po kostrbatém začátku roku </a:t>
            </a:r>
            <a:endParaRPr lang="cs-CZ" sz="1400"/>
          </a:p>
        </c:rich>
      </c:tx>
      <c:overlay val="0"/>
      <c:spPr>
        <a:noFill/>
      </c:spPr>
    </c:title>
    <c:autoTitleDeleted val="0"/>
    <c:plotArea>
      <c:layout>
        <c:manualLayout>
          <c:layoutTarget val="inner"/>
          <c:xMode val="edge"/>
          <c:yMode val="edge"/>
          <c:x val="7.4859960310272047E-2"/>
          <c:y val="0.11111388519365434"/>
          <c:w val="0.88056048893497174"/>
          <c:h val="0.57995478208955731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80</c:f>
              <c:numCache>
                <c:formatCode>m/d/yyyy</c:formatCode>
                <c:ptCount val="17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</c:numCache>
            </c:numRef>
          </c:cat>
          <c:val>
            <c:numRef>
              <c:f>'Původní model (M 1)'!$B$3:$B$175</c:f>
              <c:numCache>
                <c:formatCode>0.00</c:formatCode>
                <c:ptCount val="173"/>
                <c:pt idx="0">
                  <c:v>5.783492190346351</c:v>
                </c:pt>
                <c:pt idx="1">
                  <c:v>17.114010328219464</c:v>
                </c:pt>
                <c:pt idx="2">
                  <c:v>11.732535060742876</c:v>
                </c:pt>
                <c:pt idx="3">
                  <c:v>7.6102860250417681</c:v>
                </c:pt>
                <c:pt idx="4">
                  <c:v>12.70290450703695</c:v>
                </c:pt>
                <c:pt idx="5">
                  <c:v>14.282550369545399</c:v>
                </c:pt>
                <c:pt idx="6">
                  <c:v>10.630046341436694</c:v>
                </c:pt>
                <c:pt idx="7">
                  <c:v>16.263946365454519</c:v>
                </c:pt>
                <c:pt idx="8">
                  <c:v>8.8534034059325926</c:v>
                </c:pt>
                <c:pt idx="9">
                  <c:v>10.128758239243641</c:v>
                </c:pt>
                <c:pt idx="10">
                  <c:v>17.789874453289698</c:v>
                </c:pt>
                <c:pt idx="11">
                  <c:v>10.522563276745878</c:v>
                </c:pt>
                <c:pt idx="12">
                  <c:v>6.8060616834059173</c:v>
                </c:pt>
                <c:pt idx="13">
                  <c:v>11.719991091975345</c:v>
                </c:pt>
                <c:pt idx="14">
                  <c:v>7.2904110524954602</c:v>
                </c:pt>
                <c:pt idx="15">
                  <c:v>2.9148643038918953</c:v>
                </c:pt>
                <c:pt idx="16">
                  <c:v>9.1026511819528153</c:v>
                </c:pt>
                <c:pt idx="17">
                  <c:v>10.124970238589604</c:v>
                </c:pt>
                <c:pt idx="18">
                  <c:v>-4.734507139886313</c:v>
                </c:pt>
                <c:pt idx="19">
                  <c:v>13.003754151745618</c:v>
                </c:pt>
                <c:pt idx="20">
                  <c:v>0.54005539823283044</c:v>
                </c:pt>
                <c:pt idx="21">
                  <c:v>2.3104484570826145</c:v>
                </c:pt>
                <c:pt idx="22">
                  <c:v>1.3228332994967174</c:v>
                </c:pt>
                <c:pt idx="23">
                  <c:v>-8.4474301794036144</c:v>
                </c:pt>
                <c:pt idx="24">
                  <c:v>4.7933093390475801</c:v>
                </c:pt>
                <c:pt idx="25">
                  <c:v>-11.684319171461855</c:v>
                </c:pt>
                <c:pt idx="26">
                  <c:v>-17.272983643542016</c:v>
                </c:pt>
                <c:pt idx="27">
                  <c:v>-12.379137388783013</c:v>
                </c:pt>
                <c:pt idx="28">
                  <c:v>-22.060234323971262</c:v>
                </c:pt>
                <c:pt idx="29">
                  <c:v>-18.748648743771657</c:v>
                </c:pt>
                <c:pt idx="30">
                  <c:v>-5.0384091641459072</c:v>
                </c:pt>
                <c:pt idx="31">
                  <c:v>-21.065480777976177</c:v>
                </c:pt>
                <c:pt idx="32">
                  <c:v>-18.766545588869054</c:v>
                </c:pt>
                <c:pt idx="33">
                  <c:v>-13.53724985139687</c:v>
                </c:pt>
                <c:pt idx="34">
                  <c:v>-14.968626417084108</c:v>
                </c:pt>
                <c:pt idx="35">
                  <c:v>-6.5638894963189749</c:v>
                </c:pt>
                <c:pt idx="36">
                  <c:v>-9.6836473367612363</c:v>
                </c:pt>
                <c:pt idx="37">
                  <c:v>-4.8241962180869731</c:v>
                </c:pt>
                <c:pt idx="38">
                  <c:v>4.3765841750193824</c:v>
                </c:pt>
                <c:pt idx="39">
                  <c:v>8.0027487557210222</c:v>
                </c:pt>
                <c:pt idx="40">
                  <c:v>6.4954791569822534</c:v>
                </c:pt>
                <c:pt idx="41">
                  <c:v>6.7419554455445452</c:v>
                </c:pt>
                <c:pt idx="42">
                  <c:v>10.693018368106477</c:v>
                </c:pt>
                <c:pt idx="43">
                  <c:v>14.476485035931951</c:v>
                </c:pt>
                <c:pt idx="44">
                  <c:v>22.725578986591888</c:v>
                </c:pt>
                <c:pt idx="45">
                  <c:v>18.497172746074209</c:v>
                </c:pt>
                <c:pt idx="46">
                  <c:v>13.31497811015614</c:v>
                </c:pt>
                <c:pt idx="47">
                  <c:v>20.050447920323489</c:v>
                </c:pt>
                <c:pt idx="48">
                  <c:v>17.978491314645574</c:v>
                </c:pt>
                <c:pt idx="49">
                  <c:v>12.608562755596786</c:v>
                </c:pt>
                <c:pt idx="50">
                  <c:v>17.100986635903425</c:v>
                </c:pt>
                <c:pt idx="51">
                  <c:v>17.032882178884478</c:v>
                </c:pt>
                <c:pt idx="52">
                  <c:v>23.882624893949277</c:v>
                </c:pt>
                <c:pt idx="53">
                  <c:v>15.173773152845005</c:v>
                </c:pt>
                <c:pt idx="54">
                  <c:v>15.3927167544315</c:v>
                </c:pt>
                <c:pt idx="55">
                  <c:v>9.3014631872265099</c:v>
                </c:pt>
                <c:pt idx="56">
                  <c:v>14.042815973651713</c:v>
                </c:pt>
                <c:pt idx="57">
                  <c:v>6.6631856815478674</c:v>
                </c:pt>
                <c:pt idx="58">
                  <c:v>7.2170477305810721</c:v>
                </c:pt>
                <c:pt idx="59">
                  <c:v>6.8784386778148354</c:v>
                </c:pt>
                <c:pt idx="60">
                  <c:v>6.8359347707614315</c:v>
                </c:pt>
                <c:pt idx="61">
                  <c:v>7.3110348797484015</c:v>
                </c:pt>
                <c:pt idx="62">
                  <c:v>6.2757252553969689</c:v>
                </c:pt>
                <c:pt idx="63">
                  <c:v>5.9016964540204997</c:v>
                </c:pt>
                <c:pt idx="64">
                  <c:v>10.779385126919937</c:v>
                </c:pt>
                <c:pt idx="65">
                  <c:v>15.307370551017009</c:v>
                </c:pt>
                <c:pt idx="66">
                  <c:v>7.0782771150418311</c:v>
                </c:pt>
                <c:pt idx="67">
                  <c:v>8.8424032104844841</c:v>
                </c:pt>
                <c:pt idx="68">
                  <c:v>4.0995812425544287</c:v>
                </c:pt>
                <c:pt idx="69">
                  <c:v>6.3910796845254358</c:v>
                </c:pt>
                <c:pt idx="70">
                  <c:v>10.772654423699235</c:v>
                </c:pt>
                <c:pt idx="71">
                  <c:v>7.1212873544582056</c:v>
                </c:pt>
                <c:pt idx="72">
                  <c:v>-0.54585486015739093</c:v>
                </c:pt>
                <c:pt idx="73">
                  <c:v>8.318832615929427</c:v>
                </c:pt>
                <c:pt idx="74">
                  <c:v>2.8770126813741248</c:v>
                </c:pt>
                <c:pt idx="75">
                  <c:v>-7.4558277469035765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58900297244881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3.9902090687489289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072015775148524</c:v>
                </c:pt>
                <c:pt idx="137">
                  <c:v>-0.30113293369460337</c:v>
                </c:pt>
                <c:pt idx="138">
                  <c:v>-7.2963678390110864</c:v>
                </c:pt>
                <c:pt idx="139">
                  <c:v>5.5850680429016197</c:v>
                </c:pt>
                <c:pt idx="140">
                  <c:v>-2.0962844242785383</c:v>
                </c:pt>
                <c:pt idx="141">
                  <c:v>1.1652028493374544</c:v>
                </c:pt>
                <c:pt idx="142">
                  <c:v>10.76956887722309</c:v>
                </c:pt>
                <c:pt idx="143">
                  <c:v>3.578772826669363</c:v>
                </c:pt>
                <c:pt idx="144">
                  <c:v>1.3901442080697102</c:v>
                </c:pt>
                <c:pt idx="145">
                  <c:v>9.8033880286280137</c:v>
                </c:pt>
                <c:pt idx="146">
                  <c:v>9.4676105569331028</c:v>
                </c:pt>
                <c:pt idx="147">
                  <c:v>0.6720221540518212</c:v>
                </c:pt>
                <c:pt idx="148">
                  <c:v>0.96715261913682404</c:v>
                </c:pt>
                <c:pt idx="149">
                  <c:v>5.2829272070575195</c:v>
                </c:pt>
                <c:pt idx="150">
                  <c:v>4.9403540667099843</c:v>
                </c:pt>
                <c:pt idx="151">
                  <c:v>7.4618816325276782</c:v>
                </c:pt>
                <c:pt idx="152">
                  <c:v>7.6208577695907831</c:v>
                </c:pt>
                <c:pt idx="153">
                  <c:v>-4.5370945811657908</c:v>
                </c:pt>
                <c:pt idx="154">
                  <c:v>9.1025818599723696</c:v>
                </c:pt>
                <c:pt idx="155">
                  <c:v>-3.3299894790927542</c:v>
                </c:pt>
                <c:pt idx="156">
                  <c:v>8.794962712631138</c:v>
                </c:pt>
                <c:pt idx="157">
                  <c:v>-1.8381272367867463</c:v>
                </c:pt>
                <c:pt idx="158">
                  <c:v>-5.8735378115660986</c:v>
                </c:pt>
                <c:pt idx="159">
                  <c:v>-1.2651173820251382</c:v>
                </c:pt>
                <c:pt idx="160">
                  <c:v>0.16451905268550782</c:v>
                </c:pt>
                <c:pt idx="161">
                  <c:v>-0.25478729273454848</c:v>
                </c:pt>
                <c:pt idx="162">
                  <c:v>-11.600917459174898</c:v>
                </c:pt>
                <c:pt idx="163">
                  <c:v>-37.958580821395671</c:v>
                </c:pt>
                <c:pt idx="164">
                  <c:v>-28.732482959253414</c:v>
                </c:pt>
                <c:pt idx="165">
                  <c:v>0.57467655854992472</c:v>
                </c:pt>
                <c:pt idx="166">
                  <c:v>0.33659405247572494</c:v>
                </c:pt>
                <c:pt idx="167">
                  <c:v>-5.9196586759229124</c:v>
                </c:pt>
                <c:pt idx="168">
                  <c:v>2.1267033346683784</c:v>
                </c:pt>
                <c:pt idx="169">
                  <c:v>6.3594386175031437</c:v>
                </c:pt>
                <c:pt idx="170">
                  <c:v>8.9113821735616217</c:v>
                </c:pt>
                <c:pt idx="171">
                  <c:v>18.306053582793936</c:v>
                </c:pt>
                <c:pt idx="172">
                  <c:v>-0.61962134251291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56-4038-B6DD-455B4447CB34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80</c:f>
              <c:numCache>
                <c:formatCode>m/d/yyyy</c:formatCode>
                <c:ptCount val="17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</c:numCache>
            </c:numRef>
          </c:cat>
          <c:val>
            <c:numRef>
              <c:f>'Původní model (M 1)'!$C$3:$C$180</c:f>
              <c:numCache>
                <c:formatCode>General</c:formatCode>
                <c:ptCount val="178"/>
                <c:pt idx="172" formatCode="0.00">
                  <c:v>-0.61962134251291046</c:v>
                </c:pt>
                <c:pt idx="173" formatCode="0.00">
                  <c:v>1.4407076369379936</c:v>
                </c:pt>
                <c:pt idx="174" formatCode="0.00">
                  <c:v>8.5714778592175609</c:v>
                </c:pt>
                <c:pt idx="175" formatCode="0.00">
                  <c:v>10.216235947863099</c:v>
                </c:pt>
                <c:pt idx="176" formatCode="0.00">
                  <c:v>11.9531800761412</c:v>
                </c:pt>
                <c:pt idx="177" formatCode="0.00">
                  <c:v>9.4678642326924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C56-4038-B6DD-455B4447CB34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80</c:f>
              <c:numCache>
                <c:formatCode>m/d/yyyy</c:formatCode>
                <c:ptCount val="17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</c:numCache>
            </c:numRef>
          </c:cat>
          <c:val>
            <c:numRef>
              <c:f>'Model s trhem prác a IFO (M 3a)'!$C$3:$C$180</c:f>
              <c:numCache>
                <c:formatCode>General</c:formatCode>
                <c:ptCount val="178"/>
                <c:pt idx="172" formatCode="0.00">
                  <c:v>-0.61962134251291046</c:v>
                </c:pt>
                <c:pt idx="173" formatCode="0.00">
                  <c:v>2.1959325271587593</c:v>
                </c:pt>
                <c:pt idx="174" formatCode="0.00">
                  <c:v>10.8242130223699</c:v>
                </c:pt>
                <c:pt idx="175" formatCode="0.00">
                  <c:v>11.5995463454984</c:v>
                </c:pt>
                <c:pt idx="176" formatCode="0.00">
                  <c:v>12.2018518403782</c:v>
                </c:pt>
                <c:pt idx="177" formatCode="0.00">
                  <c:v>9.3558494778198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C56-4038-B6DD-455B4447CB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80</c15:sqref>
                        </c15:formulaRef>
                      </c:ext>
                    </c:extLst>
                    <c:numCache>
                      <c:formatCode>m/d/yyyy</c:formatCode>
                      <c:ptCount val="178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  <c:pt idx="154">
                        <c:v>43647</c:v>
                      </c:pt>
                      <c:pt idx="155">
                        <c:v>43678</c:v>
                      </c:pt>
                      <c:pt idx="156">
                        <c:v>43709</c:v>
                      </c:pt>
                      <c:pt idx="157">
                        <c:v>43739</c:v>
                      </c:pt>
                      <c:pt idx="158">
                        <c:v>43770</c:v>
                      </c:pt>
                      <c:pt idx="159">
                        <c:v>43800</c:v>
                      </c:pt>
                      <c:pt idx="160">
                        <c:v>43831</c:v>
                      </c:pt>
                      <c:pt idx="161">
                        <c:v>43862</c:v>
                      </c:pt>
                      <c:pt idx="162">
                        <c:v>43891</c:v>
                      </c:pt>
                      <c:pt idx="163">
                        <c:v>43922</c:v>
                      </c:pt>
                      <c:pt idx="164">
                        <c:v>43952</c:v>
                      </c:pt>
                      <c:pt idx="165">
                        <c:v>43983</c:v>
                      </c:pt>
                      <c:pt idx="166">
                        <c:v>44013</c:v>
                      </c:pt>
                      <c:pt idx="167">
                        <c:v>44044</c:v>
                      </c:pt>
                      <c:pt idx="168">
                        <c:v>44075</c:v>
                      </c:pt>
                      <c:pt idx="169">
                        <c:v>44105</c:v>
                      </c:pt>
                      <c:pt idx="170">
                        <c:v>44136</c:v>
                      </c:pt>
                      <c:pt idx="171">
                        <c:v>44166</c:v>
                      </c:pt>
                      <c:pt idx="172">
                        <c:v>44197</c:v>
                      </c:pt>
                      <c:pt idx="173">
                        <c:v>44228</c:v>
                      </c:pt>
                      <c:pt idx="174">
                        <c:v>44256</c:v>
                      </c:pt>
                      <c:pt idx="175">
                        <c:v>44287</c:v>
                      </c:pt>
                      <c:pt idx="176">
                        <c:v>44317</c:v>
                      </c:pt>
                      <c:pt idx="177">
                        <c:v>4434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FC56-4038-B6DD-455B4447CB34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ax val="44348"/>
          <c:min val="41791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meziroční změna v %</a:t>
                </a:r>
                <a:endParaRPr lang="cs-CZ" sz="1000">
                  <a:effectLst/>
                </a:endParaRPr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779520222503987"/>
          <c:y val="0.82126636635511086"/>
          <c:w val="0.63387176500344233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324243854616747E-2"/>
          <c:y val="8.134592495883584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'[Exportni_index_2021-Q1_data.xlsx]historie'!$C$26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743B-4A72-85B0-579B97D50C81}"/>
              </c:ext>
            </c:extLst>
          </c:dPt>
          <c:dLbls>
            <c:dLbl>
              <c:idx val="0"/>
              <c:layout>
                <c:manualLayout>
                  <c:x val="-2.1052238331287144E-2"/>
                  <c:y val="-4.28212930499957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43B-4A72-85B0-579B97D50C81}"/>
                </c:ext>
              </c:extLst>
            </c:dLbl>
            <c:dLbl>
              <c:idx val="1"/>
              <c:layout>
                <c:manualLayout>
                  <c:x val="-1.7489127906014222E-2"/>
                  <c:y val="-6.3294312293092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3B-4A72-85B0-579B97D50C81}"/>
                </c:ext>
              </c:extLst>
            </c:dLbl>
            <c:dLbl>
              <c:idx val="2"/>
              <c:layout>
                <c:manualLayout>
                  <c:x val="-3.4258205588225836E-2"/>
                  <c:y val="-5.56486879230461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43B-4A72-85B0-579B97D50C81}"/>
                </c:ext>
              </c:extLst>
            </c:dLbl>
            <c:dLbl>
              <c:idx val="3"/>
              <c:layout>
                <c:manualLayout>
                  <c:x val="-3.6354857654206853E-2"/>
                  <c:y val="5.372225081113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43B-4A72-85B0-579B97D50C81}"/>
                </c:ext>
              </c:extLst>
            </c:dLbl>
            <c:dLbl>
              <c:idx val="4"/>
              <c:layout>
                <c:manualLayout>
                  <c:x val="-3.0065071818043895E-2"/>
                  <c:y val="-5.38932114047053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43B-4A72-85B0-579B97D50C81}"/>
                </c:ext>
              </c:extLst>
            </c:dLbl>
            <c:dLbl>
              <c:idx val="5"/>
              <c:layout>
                <c:manualLayout>
                  <c:x val="-2.7968483825153805E-2"/>
                  <c:y val="-7.1716572076547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43B-4A72-85B0-579B97D50C81}"/>
                </c:ext>
              </c:extLst>
            </c:dLbl>
            <c:dLbl>
              <c:idx val="6"/>
              <c:layout>
                <c:manualLayout>
                  <c:x val="-4.8934363754054709E-2"/>
                  <c:y val="-5.3893211404705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43B-4A72-85B0-579B97D50C81}"/>
                </c:ext>
              </c:extLst>
            </c:dLbl>
            <c:dLbl>
              <c:idx val="7"/>
              <c:layout>
                <c:manualLayout>
                  <c:x val="-4.0529101312841834E-2"/>
                  <c:y val="6.70676377373243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544-4B52-B1F4-C103B6067DD2}"/>
                </c:ext>
              </c:extLst>
            </c:dLbl>
            <c:dLbl>
              <c:idx val="8"/>
              <c:layout>
                <c:manualLayout>
                  <c:x val="-2.1765644618672902E-2"/>
                  <c:y val="-0.10088234396337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43B-4A72-85B0-579B97D50C81}"/>
                </c:ext>
              </c:extLst>
            </c:dLbl>
            <c:dLbl>
              <c:idx val="9"/>
              <c:layout>
                <c:manualLayout>
                  <c:x val="-5.7128050655985252E-2"/>
                  <c:y val="4.415265595800353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544-4B52-B1F4-C103B6067DD2}"/>
                </c:ext>
              </c:extLst>
            </c:dLbl>
            <c:dLbl>
              <c:idx val="10"/>
              <c:layout>
                <c:manualLayout>
                  <c:x val="-4.2644599775384442E-2"/>
                  <c:y val="-4.49815310687841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43B-4A72-85B0-579B97D50C81}"/>
                </c:ext>
              </c:extLst>
            </c:dLbl>
            <c:dLbl>
              <c:idx val="12"/>
              <c:layout>
                <c:manualLayout>
                  <c:x val="-2.0367477212387464E-2"/>
                  <c:y val="-3.3837522542674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43B-4A72-85B0-579B97D50C81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0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Exportni_index_2021-Q1_data.xlsx]historie'!$A$11:$A$23</c:f>
              <c:strCache>
                <c:ptCount val="13"/>
                <c:pt idx="0">
                  <c:v>Q1/2018</c:v>
                </c:pt>
                <c:pt idx="1">
                  <c:v>Q2/2018</c:v>
                </c:pt>
                <c:pt idx="2">
                  <c:v>Q3/2018</c:v>
                </c:pt>
                <c:pt idx="3">
                  <c:v>Q4/2018</c:v>
                </c:pt>
                <c:pt idx="4">
                  <c:v>Q1/2019</c:v>
                </c:pt>
                <c:pt idx="5">
                  <c:v>Q2/2019</c:v>
                </c:pt>
                <c:pt idx="6">
                  <c:v>Q3/2019</c:v>
                </c:pt>
                <c:pt idx="7">
                  <c:v>Q4/2019</c:v>
                </c:pt>
                <c:pt idx="8">
                  <c:v>Q1/2020</c:v>
                </c:pt>
                <c:pt idx="9">
                  <c:v>Q2/2020</c:v>
                </c:pt>
                <c:pt idx="10">
                  <c:v>Q3/2020</c:v>
                </c:pt>
                <c:pt idx="11">
                  <c:v>Q4/2020</c:v>
                </c:pt>
                <c:pt idx="12">
                  <c:v>Q1/2021</c:v>
                </c:pt>
              </c:strCache>
            </c:strRef>
          </c:cat>
          <c:val>
            <c:numRef>
              <c:f>'[Exportni_index_2021-Q1_data.xlsx]historie'!$E$11:$E$23</c:f>
              <c:numCache>
                <c:formatCode>0.00</c:formatCode>
                <c:ptCount val="13"/>
                <c:pt idx="0">
                  <c:v>55.727272727272727</c:v>
                </c:pt>
                <c:pt idx="1">
                  <c:v>54.026315789473685</c:v>
                </c:pt>
                <c:pt idx="2">
                  <c:v>54</c:v>
                </c:pt>
                <c:pt idx="3">
                  <c:v>49.777777777777779</c:v>
                </c:pt>
                <c:pt idx="4">
                  <c:v>52.952380952380949</c:v>
                </c:pt>
                <c:pt idx="5">
                  <c:v>49.743589743589745</c:v>
                </c:pt>
                <c:pt idx="6">
                  <c:v>49.081081081081081</c:v>
                </c:pt>
                <c:pt idx="7">
                  <c:v>50.342857142857142</c:v>
                </c:pt>
                <c:pt idx="8">
                  <c:v>40.658536585365852</c:v>
                </c:pt>
                <c:pt idx="9">
                  <c:v>49.465116279069768</c:v>
                </c:pt>
                <c:pt idx="10">
                  <c:v>53.520833333333336</c:v>
                </c:pt>
                <c:pt idx="11">
                  <c:v>49.135135135135137</c:v>
                </c:pt>
                <c:pt idx="12">
                  <c:v>58.0952380952380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B-743B-4A72-85B0-579B97D50C81}"/>
            </c:ext>
          </c:extLst>
        </c:ser>
        <c:ser>
          <c:idx val="1"/>
          <c:order val="1"/>
          <c:tx>
            <c:strRef>
              <c:f>'[Exportni_index_2021-Q1_data.xlsx]historie'!$J$3</c:f>
              <c:strCache>
                <c:ptCount val="1"/>
                <c:pt idx="0">
                  <c:v>Současná situace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0506080022636559E-2"/>
                  <c:y val="3.3340911770154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43B-4A72-85B0-579B97D50C81}"/>
                </c:ext>
              </c:extLst>
            </c:dLbl>
            <c:dLbl>
              <c:idx val="1"/>
              <c:layout>
                <c:manualLayout>
                  <c:x val="-3.6303560641819985E-2"/>
                  <c:y val="4.36864059852422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43B-4A72-85B0-579B97D50C81}"/>
                </c:ext>
              </c:extLst>
            </c:dLbl>
            <c:dLbl>
              <c:idx val="2"/>
              <c:layout>
                <c:manualLayout>
                  <c:x val="-4.6795844001306819E-2"/>
                  <c:y val="4.22525921060757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43B-4A72-85B0-579B97D50C81}"/>
                </c:ext>
              </c:extLst>
            </c:dLbl>
            <c:dLbl>
              <c:idx val="4"/>
              <c:layout>
                <c:manualLayout>
                  <c:x val="-3.8409492029746535E-2"/>
                  <c:y val="3.77967519381150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43B-4A72-85B0-579B97D50C81}"/>
                </c:ext>
              </c:extLst>
            </c:dLbl>
            <c:dLbl>
              <c:idx val="5"/>
              <c:layout>
                <c:manualLayout>
                  <c:x val="-3.8409492029746459E-2"/>
                  <c:y val="6.00759527779181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43B-4A72-85B0-579B97D50C81}"/>
                </c:ext>
              </c:extLst>
            </c:dLbl>
            <c:dLbl>
              <c:idx val="6"/>
              <c:layout>
                <c:manualLayout>
                  <c:x val="-3.224024058925018E-2"/>
                  <c:y val="4.35405755121058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43B-4A72-85B0-579B97D50C81}"/>
                </c:ext>
              </c:extLst>
            </c:dLbl>
            <c:dLbl>
              <c:idx val="8"/>
              <c:layout>
                <c:manualLayout>
                  <c:x val="-3.0887224734090162E-2"/>
                  <c:y val="2.787753064555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43B-4A72-85B0-579B97D50C81}"/>
                </c:ext>
              </c:extLst>
            </c:dLbl>
            <c:dLbl>
              <c:idx val="9"/>
              <c:layout>
                <c:manualLayout>
                  <c:x val="-1.5347024107955461E-2"/>
                  <c:y val="2.4429231434233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743B-4A72-85B0-579B97D50C81}"/>
                </c:ext>
              </c:extLst>
            </c:dLbl>
            <c:dLbl>
              <c:idx val="10"/>
              <c:layout>
                <c:manualLayout>
                  <c:x val="-2.7926552065296005E-2"/>
                  <c:y val="6.45317929458787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743B-4A72-85B0-579B97D50C81}"/>
                </c:ext>
              </c:extLst>
            </c:dLbl>
            <c:dLbl>
              <c:idx val="11"/>
              <c:layout>
                <c:manualLayout>
                  <c:x val="-3.6312904036856365E-2"/>
                  <c:y val="-3.7952530917215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743B-4A72-85B0-579B97D50C81}"/>
                </c:ext>
              </c:extLst>
            </c:dLbl>
            <c:dLbl>
              <c:idx val="12"/>
              <c:layout>
                <c:manualLayout>
                  <c:x val="-1.2695617443084855E-2"/>
                  <c:y val="3.44723136477031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743B-4A72-85B0-579B97D50C8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Exportni_index_2021-Q1_data.xlsx]historie'!$A$11:$A$23</c:f>
              <c:strCache>
                <c:ptCount val="13"/>
                <c:pt idx="0">
                  <c:v>Q1/2018</c:v>
                </c:pt>
                <c:pt idx="1">
                  <c:v>Q2/2018</c:v>
                </c:pt>
                <c:pt idx="2">
                  <c:v>Q3/2018</c:v>
                </c:pt>
                <c:pt idx="3">
                  <c:v>Q4/2018</c:v>
                </c:pt>
                <c:pt idx="4">
                  <c:v>Q1/2019</c:v>
                </c:pt>
                <c:pt idx="5">
                  <c:v>Q2/2019</c:v>
                </c:pt>
                <c:pt idx="6">
                  <c:v>Q3/2019</c:v>
                </c:pt>
                <c:pt idx="7">
                  <c:v>Q4/2019</c:v>
                </c:pt>
                <c:pt idx="8">
                  <c:v>Q1/2020</c:v>
                </c:pt>
                <c:pt idx="9">
                  <c:v>Q2/2020</c:v>
                </c:pt>
                <c:pt idx="10">
                  <c:v>Q3/2020</c:v>
                </c:pt>
                <c:pt idx="11">
                  <c:v>Q4/2020</c:v>
                </c:pt>
                <c:pt idx="12">
                  <c:v>Q1/2021</c:v>
                </c:pt>
              </c:strCache>
            </c:strRef>
          </c:cat>
          <c:val>
            <c:numRef>
              <c:f>'[Exportni_index_2021-Q1_data.xlsx]historie'!$C$11:$C$23</c:f>
              <c:numCache>
                <c:formatCode>0.00</c:formatCode>
                <c:ptCount val="13"/>
                <c:pt idx="0">
                  <c:v>53.863636363636367</c:v>
                </c:pt>
                <c:pt idx="1">
                  <c:v>52.44736842105263</c:v>
                </c:pt>
                <c:pt idx="2">
                  <c:v>50.877551020408163</c:v>
                </c:pt>
                <c:pt idx="3">
                  <c:v>54.75</c:v>
                </c:pt>
                <c:pt idx="4">
                  <c:v>51.142857142857146</c:v>
                </c:pt>
                <c:pt idx="5">
                  <c:v>49.871794871794869</c:v>
                </c:pt>
                <c:pt idx="6">
                  <c:v>47.351351351351354</c:v>
                </c:pt>
                <c:pt idx="7">
                  <c:v>51.857142857142854</c:v>
                </c:pt>
                <c:pt idx="8">
                  <c:v>39.073170731707314</c:v>
                </c:pt>
                <c:pt idx="9">
                  <c:v>42.046511627906973</c:v>
                </c:pt>
                <c:pt idx="10">
                  <c:v>52.583333333333336</c:v>
                </c:pt>
                <c:pt idx="11">
                  <c:v>57.162162162162161</c:v>
                </c:pt>
                <c:pt idx="12">
                  <c:v>51.95238095238094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7-743B-4A72-85B0-579B97D50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 sz="900">
                <a:latin typeface="Century Gothic" panose="020B0502020202020204" pitchFamily="34" charset="0"/>
              </a:defRPr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73173376"/>
        <c:scaling>
          <c:orientation val="minMax"/>
          <c:min val="35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between"/>
        <c:majorUnit val="5"/>
      </c:valAx>
    </c:plotArea>
    <c:legend>
      <c:legendPos val="b"/>
      <c:layout>
        <c:manualLayout>
          <c:xMode val="edge"/>
          <c:yMode val="edge"/>
          <c:x val="7.6657699037620319E-2"/>
          <c:y val="0.79275795598128018"/>
          <c:w val="0.89875546806649165"/>
          <c:h val="0.19242020863713316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ktuální_situace-2021'!$B$46</c:f>
              <c:strCache>
                <c:ptCount val="1"/>
                <c:pt idx="0">
                  <c:v>Finanční zasažení zvýšením cen dopravy (primárně kontejnerové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678-40DF-824D-B28D5A20C4EB}"/>
              </c:ext>
            </c:extLst>
          </c:dPt>
          <c:dPt>
            <c:idx val="1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678-40DF-824D-B28D5A20C4EB}"/>
              </c:ext>
            </c:extLst>
          </c:dPt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7678-40DF-824D-B28D5A20C4EB}"/>
              </c:ext>
            </c:extLst>
          </c:dPt>
          <c:dPt>
            <c:idx val="3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7678-40DF-824D-B28D5A20C4EB}"/>
              </c:ext>
            </c:extLst>
          </c:dPt>
          <c:dPt>
            <c:idx val="4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7678-40DF-824D-B28D5A20C4EB}"/>
              </c:ext>
            </c:extLst>
          </c:dPt>
          <c:dPt>
            <c:idx val="5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7678-40DF-824D-B28D5A20C4EB}"/>
              </c:ext>
            </c:extLst>
          </c:dPt>
          <c:dLbls>
            <c:dLbl>
              <c:idx val="2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78-40DF-824D-B28D5A20C4EB}"/>
                </c:ext>
              </c:extLst>
            </c:dLbl>
            <c:dLbl>
              <c:idx val="3"/>
              <c:layout>
                <c:manualLayout>
                  <c:x val="-8.5048375363862567E-17"/>
                  <c:y val="0.1080184290531686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678-40DF-824D-B28D5A20C4EB}"/>
                </c:ext>
              </c:extLst>
            </c:dLbl>
            <c:dLbl>
              <c:idx val="4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678-40DF-824D-B28D5A20C4EB}"/>
                </c:ext>
              </c:extLst>
            </c:dLbl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aktuální_situace-2021'!$A$47:$A$51</c:f>
              <c:strCache>
                <c:ptCount val="5"/>
                <c:pt idx="0">
                  <c:v>Ano, cena se nám výrazně zvýšila</c:v>
                </c:pt>
                <c:pt idx="1">
                  <c:v>Ano, cena nám mírně narostla</c:v>
                </c:pt>
                <c:pt idx="2">
                  <c:v>Ne, ceny dopravy máme nasmlouvané dopředu</c:v>
                </c:pt>
                <c:pt idx="3">
                  <c:v>Ne, dopravu si zajišťujeme vlastními prostředky</c:v>
                </c:pt>
                <c:pt idx="4">
                  <c:v>Nedokáži odpovědět</c:v>
                </c:pt>
              </c:strCache>
            </c:strRef>
          </c:cat>
          <c:val>
            <c:numRef>
              <c:f>'aktuální_situace-2021'!$B$47:$B$51</c:f>
              <c:numCache>
                <c:formatCode>0%</c:formatCode>
                <c:ptCount val="5"/>
                <c:pt idx="0">
                  <c:v>0.28571428571428598</c:v>
                </c:pt>
                <c:pt idx="1">
                  <c:v>0.2857142857142857</c:v>
                </c:pt>
                <c:pt idx="2">
                  <c:v>0.14285714285714285</c:v>
                </c:pt>
                <c:pt idx="3">
                  <c:v>7.1428571428571425E-2</c:v>
                </c:pt>
                <c:pt idx="4">
                  <c:v>0.2142857142857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678-40DF-824D-B28D5A20C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54594056"/>
        <c:axId val="254593072"/>
      </c:barChart>
      <c:catAx>
        <c:axId val="254594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3072"/>
        <c:crosses val="autoZero"/>
        <c:auto val="1"/>
        <c:lblAlgn val="ctr"/>
        <c:lblOffset val="100"/>
        <c:noMultiLvlLbl val="0"/>
      </c:catAx>
      <c:valAx>
        <c:axId val="254593072"/>
        <c:scaling>
          <c:orientation val="minMax"/>
          <c:max val="0.5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4056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ktuální_situace-2021'!$B$67</c:f>
              <c:strCache>
                <c:ptCount val="1"/>
                <c:pt idx="0">
                  <c:v>Ovlivnění podnikání uzavřením hranic s Německe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67-4C27-9638-013618F6FD85}"/>
              </c:ext>
            </c:extLst>
          </c:dPt>
          <c:dPt>
            <c:idx val="1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867-4C27-9638-013618F6FD85}"/>
              </c:ext>
            </c:extLst>
          </c:dPt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867-4C27-9638-013618F6FD85}"/>
              </c:ext>
            </c:extLst>
          </c:dPt>
          <c:dPt>
            <c:idx val="3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867-4C27-9638-013618F6FD85}"/>
              </c:ext>
            </c:extLst>
          </c:dPt>
          <c:dPt>
            <c:idx val="4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F867-4C27-9638-013618F6FD85}"/>
              </c:ext>
            </c:extLst>
          </c:dPt>
          <c:dPt>
            <c:idx val="5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F867-4C27-9638-013618F6FD85}"/>
              </c:ext>
            </c:extLst>
          </c:dPt>
          <c:dLbls>
            <c:dLbl>
              <c:idx val="0"/>
              <c:layout>
                <c:manualLayout>
                  <c:x val="0"/>
                  <c:y val="9.34418496799144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67-4C27-9638-013618F6FD85}"/>
                </c:ext>
              </c:extLst>
            </c:dLbl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aktuální_situace-2021'!$A$68:$A$70</c:f>
              <c:strCache>
                <c:ptCount val="3"/>
                <c:pt idx="0">
                  <c:v>Ano, značně nám to zkomplikovalo podnikání</c:v>
                </c:pt>
                <c:pt idx="1">
                  <c:v>Ano, přineslo to drobné komplikace</c:v>
                </c:pt>
                <c:pt idx="2">
                  <c:v>Ne</c:v>
                </c:pt>
              </c:strCache>
            </c:strRef>
          </c:cat>
          <c:val>
            <c:numRef>
              <c:f>'aktuální_situace-2021'!$B$68:$B$70</c:f>
              <c:numCache>
                <c:formatCode>0%</c:formatCode>
                <c:ptCount val="3"/>
                <c:pt idx="0">
                  <c:v>7.1428571428571425E-2</c:v>
                </c:pt>
                <c:pt idx="1">
                  <c:v>0.47619047619047616</c:v>
                </c:pt>
                <c:pt idx="2">
                  <c:v>0.4523809523809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867-4C27-9638-013618F6FD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54594056"/>
        <c:axId val="254593072"/>
      </c:barChart>
      <c:catAx>
        <c:axId val="254594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3072"/>
        <c:crosses val="autoZero"/>
        <c:auto val="1"/>
        <c:lblAlgn val="ctr"/>
        <c:lblOffset val="100"/>
        <c:noMultiLvlLbl val="0"/>
      </c:catAx>
      <c:valAx>
        <c:axId val="254593072"/>
        <c:scaling>
          <c:orientation val="minMax"/>
          <c:max val="0.75000000000000011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4056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7.04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7/04/2021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867" y="827252"/>
            <a:ext cx="2214372" cy="98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7/04/2021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he first level</a:t>
            </a:r>
          </a:p>
          <a:p>
            <a:pPr lvl="1"/>
            <a:r>
              <a:rPr lang="en-US" noProof="0" dirty="0"/>
              <a:t>The second level</a:t>
            </a:r>
          </a:p>
          <a:p>
            <a:pPr lvl="2"/>
            <a:r>
              <a:rPr lang="en-US" noProof="0" dirty="0"/>
              <a:t>The third level</a:t>
            </a:r>
          </a:p>
          <a:p>
            <a:pPr lvl="3"/>
            <a:r>
              <a:rPr lang="en-US" noProof="0" dirty="0"/>
              <a:t>The fourth level</a:t>
            </a:r>
          </a:p>
          <a:p>
            <a:pPr lvl="4"/>
            <a:r>
              <a:rPr lang="en-US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7/04/2021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434168"/>
            <a:ext cx="9928976" cy="861774"/>
          </a:xfrm>
        </p:spPr>
        <p:txBody>
          <a:bodyPr/>
          <a:lstStyle/>
          <a:p>
            <a:r>
              <a:rPr lang="cs-CZ" sz="2800" dirty="0"/>
              <a:t>Index Exportu – vysoká očekávání po kostrbatém začátku roku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/>
              <a:t>Helena Horská, hlavní ekonomka Raiffeisenbank a.s.</a:t>
            </a:r>
          </a:p>
          <a:p>
            <a:r>
              <a:rPr lang="en-US" dirty="0"/>
              <a:t>h</a:t>
            </a:r>
            <a:r>
              <a:rPr lang="cs-CZ" dirty="0" err="1"/>
              <a:t>elena.horska</a:t>
            </a:r>
            <a:r>
              <a:rPr lang="en-US" dirty="0"/>
              <a:t>@rb.cz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7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800" dirty="0"/>
              <a:t>IE: </a:t>
            </a:r>
            <a:r>
              <a:rPr lang="cs-CZ" dirty="0"/>
              <a:t>vysoká očekávání po kostrbatém začátku roku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Raiffeisenbank ve spolupráci s Asociací Exportérů, data k 1. 4. 2021. </a:t>
            </a:r>
          </a:p>
          <a:p>
            <a:r>
              <a:rPr lang="cs-CZ" sz="1000" i="1" dirty="0"/>
              <a:t>Pozn.: Údaje do října 2019 odpovídají zveřejněné statistice národního vývozu ČSÚ, od listopadu 2019 prognóza I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0116" y="890273"/>
            <a:ext cx="10333168" cy="295673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400" b="1" dirty="0"/>
              <a:t>Index Exportu </a:t>
            </a:r>
            <a:r>
              <a:rPr lang="cs-CZ" sz="1400" dirty="0"/>
              <a:t>odhaduje rostoucí </a:t>
            </a:r>
            <a:r>
              <a:rPr lang="cs-CZ" sz="1400" b="1" dirty="0"/>
              <a:t>výkonost českého exportu především v dubnu – květnu 202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400"/>
              <a:t>Slabší výkonost exportu počátkem roku (</a:t>
            </a:r>
            <a:r>
              <a:rPr lang="en-GB" sz="1400"/>
              <a:t>po dvoucifern</a:t>
            </a:r>
            <a:r>
              <a:rPr lang="cs-CZ" sz="1400"/>
              <a:t>ých sezónně očištěných přírůstcích, v lednu jednociferný)</a:t>
            </a:r>
          </a:p>
          <a:p>
            <a:pPr marL="807278" lvl="1" indent="-285750">
              <a:buFont typeface="Wingdings" panose="05000000000000000000" pitchFamily="2" charset="2"/>
              <a:buChar char="Ø"/>
            </a:pPr>
            <a:r>
              <a:rPr lang="cs-CZ" sz="1400"/>
              <a:t>mírně </a:t>
            </a:r>
            <a:r>
              <a:rPr lang="cs-CZ" sz="1400" dirty="0"/>
              <a:t>slabší </a:t>
            </a:r>
            <a:r>
              <a:rPr lang="cs-CZ" sz="1400"/>
              <a:t>zahraniční poptávka</a:t>
            </a:r>
          </a:p>
          <a:p>
            <a:pPr marL="807278" lvl="1" indent="-285750">
              <a:buFont typeface="Wingdings" panose="05000000000000000000" pitchFamily="2" charset="2"/>
              <a:buChar char="Ø"/>
            </a:pPr>
            <a:r>
              <a:rPr lang="cs-CZ" sz="1400"/>
              <a:t>brexit</a:t>
            </a:r>
          </a:p>
          <a:p>
            <a:pPr marL="807278" lvl="1" indent="-285750">
              <a:buFont typeface="Wingdings" panose="05000000000000000000" pitchFamily="2" charset="2"/>
              <a:buChar char="Ø"/>
            </a:pPr>
            <a:r>
              <a:rPr lang="cs-CZ" sz="1400"/>
              <a:t>komplikac</a:t>
            </a:r>
            <a:r>
              <a:rPr lang="en-GB" sz="1400"/>
              <a:t>e</a:t>
            </a:r>
            <a:r>
              <a:rPr lang="cs-CZ" sz="1400"/>
              <a:t> </a:t>
            </a:r>
            <a:r>
              <a:rPr lang="cs-CZ" sz="1400" dirty="0"/>
              <a:t>v </a:t>
            </a:r>
            <a:r>
              <a:rPr lang="cs-CZ" sz="1400"/>
              <a:t>dodavatelských řetězcích</a:t>
            </a:r>
            <a:endParaRPr lang="en-GB" sz="1400"/>
          </a:p>
          <a:p>
            <a:pPr marL="807278" lvl="1" indent="-285750">
              <a:buFont typeface="Wingdings" panose="05000000000000000000" pitchFamily="2" charset="2"/>
              <a:buChar char="Ø"/>
            </a:pPr>
            <a:endParaRPr lang="en-GB" sz="14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400" b="1"/>
              <a:t>Při </a:t>
            </a:r>
            <a:r>
              <a:rPr lang="cs-CZ" sz="1400" b="1" dirty="0"/>
              <a:t>výhledu do příštích pěti měsíců bude </a:t>
            </a:r>
            <a:r>
              <a:rPr lang="cs-CZ" sz="1400" dirty="0"/>
              <a:t>dle Indexu Exportu </a:t>
            </a:r>
            <a:r>
              <a:rPr lang="cs-CZ" sz="1400" b="1" dirty="0"/>
              <a:t>oživení vývozu vrcholit v květnu.</a:t>
            </a:r>
            <a:endParaRPr lang="cs-CZ" sz="1400" dirty="0"/>
          </a:p>
          <a:p>
            <a:pPr algn="just"/>
            <a:endParaRPr lang="cs-CZ" sz="1400" i="1" dirty="0"/>
          </a:p>
          <a:p>
            <a:pPr algn="just"/>
            <a:r>
              <a:rPr lang="cs-CZ" sz="1400" i="1" dirty="0"/>
              <a:t>I přes zpomalení začátkem roku se u našich hlavních exportních partnerů očekává v druhé polovině roku ekonomické oživení. S tím počítáme i s postupným odezníváním aktuálních komplikací v logistice, která vedou k vyšším nákladům a mnohdy také k omezení výroby. S ohledem na průmyslově orientovanou českou ekonomiku bude pro vývoj exportu stěžejní především vývoz dopravních prostředků, na které aktuálně doléhají problémy v dodavatelských řetězcích a upadající registrace nových osobních vozidel (v únoru 2021 propad v EU-27 o 20 % r/r).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0385561"/>
              </p:ext>
            </p:extLst>
          </p:nvPr>
        </p:nvGraphicFramePr>
        <p:xfrm>
          <a:off x="392940" y="3884961"/>
          <a:ext cx="9784030" cy="3186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Čtvrtletní průzkum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961497"/>
            <a:ext cx="7803121" cy="50430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Aktuální situace a výhled na tři měsí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7. – 28. 3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 </a:t>
            </a:r>
            <a:endParaRPr lang="cs-CZ" sz="1100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C62B4066-337E-4321-A77E-8BFF91145E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2396150"/>
              </p:ext>
            </p:extLst>
          </p:nvPr>
        </p:nvGraphicFramePr>
        <p:xfrm>
          <a:off x="793969" y="3485700"/>
          <a:ext cx="9181304" cy="3243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891303"/>
            <a:ext cx="10693401" cy="8509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Jak z pohledu Vašeho podnikání hodnotíte finanční zasažení zvýšením cen dopravy (primárně kontejnerové)?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7. – 28. 3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</a:t>
            </a:r>
            <a:endParaRPr lang="cs-CZ" sz="11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90FBAE-468C-4CB8-B7E8-359DFCA48CF9}"/>
              </a:ext>
            </a:extLst>
          </p:cNvPr>
          <p:cNvSpPr txBox="1"/>
          <p:nvPr/>
        </p:nvSpPr>
        <p:spPr>
          <a:xfrm>
            <a:off x="-1" y="4207942"/>
            <a:ext cx="10693401" cy="528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Mělo uzavření hranic s Německem dopad na Vaše podnikání?</a:t>
            </a:r>
            <a:endParaRPr lang="cs-CZ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10DE5ED-04C4-440C-B00E-EB327C3858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555311"/>
              </p:ext>
            </p:extLst>
          </p:nvPr>
        </p:nvGraphicFramePr>
        <p:xfrm>
          <a:off x="583233" y="1876508"/>
          <a:ext cx="8607600" cy="2331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9200D09-9FC7-4706-855B-1EB4EAC244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6612557"/>
              </p:ext>
            </p:extLst>
          </p:nvPr>
        </p:nvGraphicFramePr>
        <p:xfrm>
          <a:off x="633633" y="4839031"/>
          <a:ext cx="8506800" cy="22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962872"/>
            <a:ext cx="10693401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    Exportéři hodnotí podporu ze strany státu jako nedostatečnou…</a:t>
            </a:r>
            <a:endParaRPr lang="cs-CZ" sz="1600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7. – 28. 3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</a:t>
            </a:r>
            <a:endParaRPr lang="cs-CZ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8DE19ED-F8E7-43B7-B861-5D829BCB45F7}"/>
              </a:ext>
            </a:extLst>
          </p:cNvPr>
          <p:cNvSpPr txBox="1"/>
          <p:nvPr/>
        </p:nvSpPr>
        <p:spPr>
          <a:xfrm>
            <a:off x="0" y="3526488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…zavedení přechodné nemocenské vnímají převážně negativně</a:t>
            </a:r>
            <a:endParaRPr lang="cs-CZ" sz="1600" b="1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C814EB-1FD6-4BFA-B4DA-AD4B491BC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191758"/>
              </p:ext>
            </p:extLst>
          </p:nvPr>
        </p:nvGraphicFramePr>
        <p:xfrm>
          <a:off x="847046" y="1820979"/>
          <a:ext cx="5453380" cy="1240729"/>
        </p:xfrm>
        <a:graphic>
          <a:graphicData uri="http://schemas.openxmlformats.org/drawingml/2006/table">
            <a:tbl>
              <a:tblPr firstRow="1" firstCol="1" bandRow="1"/>
              <a:tblGrid>
                <a:gridCol w="2284095">
                  <a:extLst>
                    <a:ext uri="{9D8B030D-6E8A-4147-A177-3AD203B41FA5}">
                      <a16:colId xmlns:a16="http://schemas.microsoft.com/office/drawing/2014/main" val="3617506986"/>
                    </a:ext>
                  </a:extLst>
                </a:gridCol>
                <a:gridCol w="3169285">
                  <a:extLst>
                    <a:ext uri="{9D8B030D-6E8A-4147-A177-3AD203B41FA5}">
                      <a16:colId xmlns:a16="http://schemas.microsoft.com/office/drawing/2014/main" val="2628110162"/>
                    </a:ext>
                  </a:extLst>
                </a:gridCol>
              </a:tblGrid>
              <a:tr h="6190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EX EXPORTU </a:t>
                      </a:r>
                      <a:b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Q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statečnost logistické, informační a finanční podpory státu k povinnému testován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824577"/>
                  </a:ext>
                </a:extLst>
              </a:tr>
              <a:tr h="3108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135096"/>
                  </a:ext>
                </a:extLst>
              </a:tr>
              <a:tr h="3108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24155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37BFD8F-560E-4944-8606-08B362649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307217"/>
              </p:ext>
            </p:extLst>
          </p:nvPr>
        </p:nvGraphicFramePr>
        <p:xfrm>
          <a:off x="821704" y="4189818"/>
          <a:ext cx="9222182" cy="2715079"/>
        </p:xfrm>
        <a:graphic>
          <a:graphicData uri="http://schemas.openxmlformats.org/drawingml/2006/table">
            <a:tbl>
              <a:tblPr firstRow="1" firstCol="1" bandRow="1"/>
              <a:tblGrid>
                <a:gridCol w="4037228">
                  <a:extLst>
                    <a:ext uri="{9D8B030D-6E8A-4147-A177-3AD203B41FA5}">
                      <a16:colId xmlns:a16="http://schemas.microsoft.com/office/drawing/2014/main" val="1993028091"/>
                    </a:ext>
                  </a:extLst>
                </a:gridCol>
                <a:gridCol w="1727618">
                  <a:extLst>
                    <a:ext uri="{9D8B030D-6E8A-4147-A177-3AD203B41FA5}">
                      <a16:colId xmlns:a16="http://schemas.microsoft.com/office/drawing/2014/main" val="3289721582"/>
                    </a:ext>
                  </a:extLst>
                </a:gridCol>
                <a:gridCol w="1728668">
                  <a:extLst>
                    <a:ext uri="{9D8B030D-6E8A-4147-A177-3AD203B41FA5}">
                      <a16:colId xmlns:a16="http://schemas.microsoft.com/office/drawing/2014/main" val="114140765"/>
                    </a:ext>
                  </a:extLst>
                </a:gridCol>
                <a:gridCol w="1728668">
                  <a:extLst>
                    <a:ext uri="{9D8B030D-6E8A-4147-A177-3AD203B41FA5}">
                      <a16:colId xmlns:a16="http://schemas.microsoft.com/office/drawing/2014/main" val="1341754453"/>
                    </a:ext>
                  </a:extLst>
                </a:gridCol>
              </a:tblGrid>
              <a:tr h="40887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EX EXPORTU </a:t>
                      </a:r>
                      <a:b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Q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avedení přechodně zvýšené nemocenské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044672"/>
                  </a:ext>
                </a:extLst>
              </a:tr>
              <a:tr h="45415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může omezit </a:t>
                      </a:r>
                      <a:r>
                        <a:rPr lang="cs-CZ" sz="11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šíření</a:t>
                      </a: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ákaz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de masivně zneužíváno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e nastaveno příliš štědř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396619"/>
                  </a:ext>
                </a:extLst>
              </a:tr>
              <a:tr h="3056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čitě ano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0202947"/>
                  </a:ext>
                </a:extLst>
              </a:tr>
              <a:tr h="2883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íše ano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520023"/>
                  </a:ext>
                </a:extLst>
              </a:tr>
              <a:tr h="288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íše n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7249214"/>
                  </a:ext>
                </a:extLst>
              </a:tr>
              <a:tr h="2730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čitě n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414465"/>
                  </a:ext>
                </a:extLst>
              </a:tr>
              <a:tr h="2279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423849"/>
                  </a:ext>
                </a:extLst>
              </a:tr>
              <a:tr h="2406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1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6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108385"/>
                  </a:ext>
                </a:extLst>
              </a:tr>
              <a:tr h="2279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9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71653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915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/>
              <a:t>Důležité upozornění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6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 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a Prováděcího 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1</a:t>
            </a:r>
            <a:r>
              <a:rPr lang="cs-CZ" sz="1400" dirty="0"/>
              <a:t>. dubnu 2021</a:t>
            </a:r>
            <a:r>
              <a:rPr lang="cs-CZ" sz="1400" dirty="0">
                <a:latin typeface="Century Gothic" pitchFamily="34" charset="0"/>
              </a:rPr>
              <a:t> 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Helena Horská, hlavní ekonom Raiffeisenbank a.s., </a:t>
            </a:r>
            <a:r>
              <a:rPr lang="cs-CZ" sz="1400" dirty="0" err="1">
                <a:latin typeface="Century Gothic" pitchFamily="34" charset="0"/>
              </a:rPr>
              <a:t>helena.horska</a:t>
            </a:r>
            <a:r>
              <a:rPr lang="en-US" sz="1400" dirty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8a242853-43d6-460e-83d1-ae32e22d03a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922</TotalTime>
  <Words>939</Words>
  <Application>Microsoft Office PowerPoint</Application>
  <PresentationFormat>Vlastní</PresentationFormat>
  <Paragraphs>110</Paragraphs>
  <Slides>6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2" baseType="lpstr">
      <vt:lpstr>Arial</vt:lpstr>
      <vt:lpstr>Calibri</vt:lpstr>
      <vt:lpstr>Century Gothic</vt:lpstr>
      <vt:lpstr>Wingdings</vt:lpstr>
      <vt:lpstr>Presentace IE žlutá</vt:lpstr>
      <vt:lpstr>think-cell Slide</vt:lpstr>
      <vt:lpstr>Prezentace aplikace PowerPoint</vt:lpstr>
      <vt:lpstr>IE: vysoká očekávání po kostrbatém začátku roku</vt:lpstr>
      <vt:lpstr>Čtvrtletní průzkum mezi exportéry</vt:lpstr>
      <vt:lpstr>Anketa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280</cp:revision>
  <cp:lastPrinted>2020-01-09T07:33:55Z</cp:lastPrinted>
  <dcterms:created xsi:type="dcterms:W3CDTF">2016-04-01T12:44:41Z</dcterms:created>
  <dcterms:modified xsi:type="dcterms:W3CDTF">2021-04-07T16:0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  <property fmtid="{D5CDD505-2E9C-101B-9397-08002B2CF9AE}" pid="7" name="MSIP_Label_2a6524ed-fb1a-49fd-bafe-15c5e5ffd047_Enabled">
    <vt:lpwstr>true</vt:lpwstr>
  </property>
  <property fmtid="{D5CDD505-2E9C-101B-9397-08002B2CF9AE}" pid="8" name="MSIP_Label_2a6524ed-fb1a-49fd-bafe-15c5e5ffd047_SetDate">
    <vt:lpwstr>2021-04-06T15:31:13Z</vt:lpwstr>
  </property>
  <property fmtid="{D5CDD505-2E9C-101B-9397-08002B2CF9AE}" pid="9" name="MSIP_Label_2a6524ed-fb1a-49fd-bafe-15c5e5ffd047_Method">
    <vt:lpwstr>Standard</vt:lpwstr>
  </property>
  <property fmtid="{D5CDD505-2E9C-101B-9397-08002B2CF9AE}" pid="10" name="MSIP_Label_2a6524ed-fb1a-49fd-bafe-15c5e5ffd047_Name">
    <vt:lpwstr>Internal</vt:lpwstr>
  </property>
  <property fmtid="{D5CDD505-2E9C-101B-9397-08002B2CF9AE}" pid="11" name="MSIP_Label_2a6524ed-fb1a-49fd-bafe-15c5e5ffd047_SiteId">
    <vt:lpwstr>9b511fda-f0b1-43a5-b06e-1e720f64520a</vt:lpwstr>
  </property>
  <property fmtid="{D5CDD505-2E9C-101B-9397-08002B2CF9AE}" pid="12" name="MSIP_Label_2a6524ed-fb1a-49fd-bafe-15c5e5ffd047_ActionId">
    <vt:lpwstr>23522b75-6e39-4fc5-a609-470c239c0dfb</vt:lpwstr>
  </property>
  <property fmtid="{D5CDD505-2E9C-101B-9397-08002B2CF9AE}" pid="13" name="MSIP_Label_2a6524ed-fb1a-49fd-bafe-15c5e5ffd047_ContentBits">
    <vt:lpwstr>0</vt:lpwstr>
  </property>
</Properties>
</file>